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08" r:id="rId5"/>
    <p:sldMasterId id="2147484322" r:id="rId6"/>
    <p:sldMasterId id="2147484374" r:id="rId7"/>
    <p:sldMasterId id="2147484548" r:id="rId8"/>
  </p:sldMasterIdLst>
  <p:notesMasterIdLst>
    <p:notesMasterId r:id="rId12"/>
  </p:notesMasterIdLst>
  <p:handoutMasterIdLst>
    <p:handoutMasterId r:id="rId13"/>
  </p:handoutMasterIdLst>
  <p:sldIdLst>
    <p:sldId id="332" r:id="rId9"/>
    <p:sldId id="341" r:id="rId10"/>
    <p:sldId id="342" r:id="rId11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uild 2015 Breakout Template" id="{D75A0D65-BF15-4822-BC6D-74C66FDCD9EE}">
          <p14:sldIdLst>
            <p14:sldId id="332"/>
            <p14:sldId id="341"/>
            <p14:sldId id="34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9E7E"/>
    <a:srgbClr val="E4E4E4"/>
    <a:srgbClr val="202020"/>
    <a:srgbClr val="01557E"/>
    <a:srgbClr val="FD7D7B"/>
    <a:srgbClr val="9078FC"/>
    <a:srgbClr val="F5F5F5"/>
    <a:srgbClr val="00FFFD"/>
    <a:srgbClr val="00FFA4"/>
    <a:srgbClr val="8383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421" autoAdjust="0"/>
    <p:restoredTop sz="96323" autoAdjust="0"/>
  </p:normalViewPr>
  <p:slideViewPr>
    <p:cSldViewPr>
      <p:cViewPr varScale="1">
        <p:scale>
          <a:sx n="62" d="100"/>
          <a:sy n="62" d="100"/>
        </p:scale>
        <p:origin x="536" y="48"/>
      </p:cViewPr>
      <p:guideLst/>
    </p:cSldViewPr>
  </p:slideViewPr>
  <p:outlineViewPr>
    <p:cViewPr>
      <p:scale>
        <a:sx n="33" d="100"/>
        <a:sy n="33" d="100"/>
      </p:scale>
      <p:origin x="0" y="-8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994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>
                <a:latin typeface="Segoe UI" pitchFamily="34" charset="0"/>
              </a:rPr>
              <a:t>Build 2015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5/24/2016 1:31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>
                <a:latin typeface="Segoe UI" pitchFamily="34" charset="0"/>
              </a:rPr>
              <a:t>Build 2015</a:t>
            </a: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5/24/2016 1:31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98341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44600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34522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251010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240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129481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30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118852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1583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74237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86655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6782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00265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435971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92208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366770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45935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556246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12264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320735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727738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194217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21786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119998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1704966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/>
              <a:t>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A3C3B-4339-43D7-BF14-AEF901A287CC}" type="datetimeFigureOut">
              <a:rPr lang="en-US" smtClean="0"/>
              <a:t>5/2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A91B3-42F5-4484-9DF3-945048C42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040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277999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69848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011782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508790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541378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761037" y="295274"/>
            <a:ext cx="6403165" cy="917575"/>
          </a:xfrm>
        </p:spPr>
        <p:txBody>
          <a:bodyPr/>
          <a:lstStyle/>
          <a:p>
            <a:r>
              <a:rPr lang="en-US" dirty="0"/>
              <a:t>Click to edit Master style</a:t>
            </a:r>
          </a:p>
        </p:txBody>
      </p:sp>
    </p:spTree>
    <p:extLst>
      <p:ext uri="{BB962C8B-B14F-4D97-AF65-F5344CB8AC3E}">
        <p14:creationId xmlns:p14="http://schemas.microsoft.com/office/powerpoint/2010/main" val="48760042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45224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12616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34296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484346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03976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36887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8369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282802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92240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7746083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5064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485528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3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2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74825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659197" y="6606832"/>
            <a:ext cx="777278" cy="387693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36672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8089297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99898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/>
              <a:t>Session Code Here</a:t>
            </a:r>
          </a:p>
        </p:txBody>
      </p:sp>
    </p:spTree>
    <p:extLst>
      <p:ext uri="{BB962C8B-B14F-4D97-AF65-F5344CB8AC3E}">
        <p14:creationId xmlns:p14="http://schemas.microsoft.com/office/powerpoint/2010/main" val="332354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0943142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100192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74187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89838" y="1668463"/>
            <a:ext cx="457200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90515" y="295275"/>
            <a:ext cx="4573689" cy="917575"/>
          </a:xfr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721197383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61039" y="295275"/>
            <a:ext cx="6403165" cy="917575"/>
          </a:xfr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793809939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345414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28292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390374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2332122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720397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37336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16717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000286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22230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5475125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55236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2889865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7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628718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75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458947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058862"/>
            <a:ext cx="11887200" cy="572464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357138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83076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211" y="6395264"/>
            <a:ext cx="11888061" cy="301348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16" b="0">
                <a:solidFill>
                  <a:schemeClr val="tx1"/>
                </a:solidFill>
                <a:latin typeface="+mn-lt"/>
              </a:defRPr>
            </a:lvl1pPr>
            <a:lvl2pPr>
              <a:defRPr sz="816" b="0">
                <a:solidFill>
                  <a:schemeClr val="tx1"/>
                </a:solidFill>
              </a:defRPr>
            </a:lvl2pPr>
            <a:lvl3pPr>
              <a:defRPr sz="816" b="0">
                <a:solidFill>
                  <a:schemeClr val="tx1"/>
                </a:solidFill>
              </a:defRPr>
            </a:lvl3pPr>
            <a:lvl4pPr>
              <a:defRPr sz="816" b="0">
                <a:solidFill>
                  <a:schemeClr val="tx1"/>
                </a:solidFill>
              </a:defRPr>
            </a:lvl4pPr>
            <a:lvl5pPr>
              <a:defRPr sz="816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4127387016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8315951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95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79377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Title_HEALTH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" t="13287" r="2103" b="3771"/>
          <a:stretch/>
        </p:blipFill>
        <p:spPr>
          <a:xfrm>
            <a:off x="0" y="0"/>
            <a:ext cx="12466638" cy="70272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66371" y="2489420"/>
            <a:ext cx="6275733" cy="1356064"/>
          </a:xfrm>
          <a:prstGeom prst="rect">
            <a:avLst/>
          </a:prstGeom>
        </p:spPr>
        <p:txBody>
          <a:bodyPr wrap="square" lIns="143407" tIns="0" rIns="143407" b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96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here, second line her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72" y="4994602"/>
            <a:ext cx="6275659" cy="593368"/>
          </a:xfrm>
          <a:prstGeom prst="rect">
            <a:avLst/>
          </a:prstGeom>
        </p:spPr>
        <p:txBody>
          <a:bodyPr lIns="143407" tIns="0" rIns="143407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142">
                <a:solidFill>
                  <a:schemeClr val="bg1"/>
                </a:solidFill>
                <a:latin typeface="+mn-lt"/>
              </a:defRPr>
            </a:lvl1pPr>
            <a:lvl2pPr marL="456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758" y="3920818"/>
            <a:ext cx="6292074" cy="881064"/>
          </a:xfrm>
          <a:prstGeom prst="rect">
            <a:avLst/>
          </a:prstGeom>
        </p:spPr>
        <p:txBody>
          <a:bodyPr lIns="143407" tIns="0" rIns="143407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40" baseline="0">
                <a:solidFill>
                  <a:schemeClr val="bg1"/>
                </a:solidFill>
                <a:latin typeface="+mn-lt"/>
              </a:defRPr>
            </a:lvl1pPr>
            <a:lvl2pPr marL="342528" indent="0">
              <a:buNone/>
              <a:defRPr sz="1632">
                <a:solidFill>
                  <a:schemeClr val="bg1"/>
                </a:solidFill>
                <a:latin typeface="+mj-lt"/>
              </a:defRPr>
            </a:lvl2pPr>
            <a:lvl3pPr marL="570880" indent="0">
              <a:buNone/>
              <a:defRPr sz="1326">
                <a:solidFill>
                  <a:schemeClr val="bg1"/>
                </a:solidFill>
                <a:latin typeface="+mj-lt"/>
              </a:defRPr>
            </a:lvl3pPr>
            <a:lvl4pPr marL="799229" indent="0">
              <a:buNone/>
              <a:defRPr sz="1224">
                <a:solidFill>
                  <a:schemeClr val="bg1"/>
                </a:solidFill>
                <a:latin typeface="+mj-lt"/>
              </a:defRPr>
            </a:lvl4pPr>
            <a:lvl5pPr marL="1027583" indent="0">
              <a:buNone/>
              <a:defRPr sz="1224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Sub header her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059" y="6530041"/>
            <a:ext cx="1304123" cy="2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5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5" y="6673146"/>
            <a:ext cx="501211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4CED8391-71CF-4FD3-A093-40D26DE2D47C}" type="slidenum">
              <a:rPr lang="en-US" smtClean="0">
                <a:solidFill>
                  <a:srgbClr val="00188F"/>
                </a:solidFill>
              </a:rPr>
              <a:pPr defTabSz="932563"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4"/>
            <a:ext cx="11460018" cy="20962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067423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928033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635"/>
            <a:ext cx="12436475" cy="7003161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37287" y="2452402"/>
            <a:ext cx="7922679" cy="1679076"/>
          </a:xfrm>
        </p:spPr>
        <p:txBody>
          <a:bodyPr anchor="b">
            <a:noAutofit/>
          </a:bodyPr>
          <a:lstStyle>
            <a:lvl1pPr algn="r">
              <a:defRPr sz="550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37287" y="4131475"/>
            <a:ext cx="7922679" cy="1118735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5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30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7106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869797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2754635"/>
            <a:ext cx="8769049" cy="1862943"/>
          </a:xfrm>
        </p:spPr>
        <p:txBody>
          <a:bodyPr anchor="b"/>
          <a:lstStyle>
            <a:lvl1pPr algn="l">
              <a:defRPr sz="408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877528"/>
          </a:xfrm>
        </p:spPr>
        <p:txBody>
          <a:bodyPr anchor="t"/>
          <a:lstStyle>
            <a:lvl1pPr marL="0" indent="0" algn="l">
              <a:buNone/>
              <a:defRPr sz="204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409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0916" y="2203601"/>
            <a:ext cx="4267934" cy="395802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92034" y="2203601"/>
            <a:ext cx="4267933" cy="395802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53311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296" y="2204003"/>
            <a:ext cx="4269553" cy="587734"/>
          </a:xfrm>
        </p:spPr>
        <p:txBody>
          <a:bodyPr anchor="b">
            <a:noAutofit/>
          </a:bodyPr>
          <a:lstStyle>
            <a:lvl1pPr marL="0" indent="0">
              <a:buNone/>
              <a:defRPr sz="2448" b="0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9296" y="2791737"/>
            <a:ext cx="4269553" cy="3369893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90416" y="2204003"/>
            <a:ext cx="4269548" cy="587734"/>
          </a:xfrm>
        </p:spPr>
        <p:txBody>
          <a:bodyPr anchor="b">
            <a:noAutofit/>
          </a:bodyPr>
          <a:lstStyle>
            <a:lvl1pPr marL="0" indent="0">
              <a:buNone/>
              <a:defRPr sz="2448" b="0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90417" y="2791737"/>
            <a:ext cx="4269547" cy="3369893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2060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6" y="621735"/>
            <a:ext cx="8769049" cy="134709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592630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395015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6" y="1528437"/>
            <a:ext cx="3931819" cy="1303917"/>
          </a:xfrm>
        </p:spPr>
        <p:txBody>
          <a:bodyPr anchor="b">
            <a:normAutofit/>
          </a:bodyPr>
          <a:lstStyle>
            <a:lvl1pPr>
              <a:defRPr sz="204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5919" y="525175"/>
            <a:ext cx="4604047" cy="5636454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0916" y="2832354"/>
            <a:ext cx="3931819" cy="2635899"/>
          </a:xfrm>
        </p:spPr>
        <p:txBody>
          <a:bodyPr>
            <a:normAutofit/>
          </a:bodyPr>
          <a:lstStyle>
            <a:lvl1pPr marL="0" indent="0">
              <a:buNone/>
              <a:defRPr sz="1428"/>
            </a:lvl1pPr>
            <a:lvl2pPr marL="466159" indent="0">
              <a:buNone/>
              <a:defRPr sz="1428"/>
            </a:lvl2pPr>
            <a:lvl3pPr marL="932317" indent="0">
              <a:buNone/>
              <a:defRPr sz="1224"/>
            </a:lvl3pPr>
            <a:lvl4pPr marL="1398476" indent="0">
              <a:buNone/>
              <a:defRPr sz="1020"/>
            </a:lvl4pPr>
            <a:lvl5pPr marL="1864633" indent="0">
              <a:buNone/>
              <a:defRPr sz="1020"/>
            </a:lvl5pPr>
            <a:lvl6pPr marL="2330792" indent="0">
              <a:buNone/>
              <a:defRPr sz="1020"/>
            </a:lvl6pPr>
            <a:lvl7pPr marL="2796950" indent="0">
              <a:buNone/>
              <a:defRPr sz="1020"/>
            </a:lvl7pPr>
            <a:lvl8pPr marL="3263109" indent="0">
              <a:buNone/>
              <a:defRPr sz="1020"/>
            </a:lvl8pPr>
            <a:lvl9pPr marL="3729267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27939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4896168"/>
            <a:ext cx="8769048" cy="578020"/>
          </a:xfrm>
        </p:spPr>
        <p:txBody>
          <a:bodyPr anchor="b">
            <a:normAutofit/>
          </a:bodyPr>
          <a:lstStyle>
            <a:lvl1pPr algn="l">
              <a:defRPr sz="2448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0916" y="621736"/>
            <a:ext cx="8769049" cy="3922276"/>
          </a:xfrm>
        </p:spPr>
        <p:txBody>
          <a:bodyPr anchor="t">
            <a:normAutofit/>
          </a:bodyPr>
          <a:lstStyle>
            <a:lvl1pPr marL="0" indent="0" algn="ctr">
              <a:buNone/>
              <a:defRPr sz="1632"/>
            </a:lvl1pPr>
            <a:lvl2pPr marL="466298" indent="0">
              <a:buNone/>
              <a:defRPr sz="1632"/>
            </a:lvl2pPr>
            <a:lvl3pPr marL="932597" indent="0">
              <a:buNone/>
              <a:defRPr sz="1632"/>
            </a:lvl3pPr>
            <a:lvl4pPr marL="1398895" indent="0">
              <a:buNone/>
              <a:defRPr sz="1632"/>
            </a:lvl4pPr>
            <a:lvl5pPr marL="1865193" indent="0">
              <a:buNone/>
              <a:defRPr sz="1632"/>
            </a:lvl5pPr>
            <a:lvl6pPr marL="2331491" indent="0">
              <a:buNone/>
              <a:defRPr sz="1632"/>
            </a:lvl6pPr>
            <a:lvl7pPr marL="2797790" indent="0">
              <a:buNone/>
              <a:defRPr sz="1632"/>
            </a:lvl7pPr>
            <a:lvl8pPr marL="3264088" indent="0">
              <a:buNone/>
              <a:defRPr sz="1632"/>
            </a:lvl8pPr>
            <a:lvl9pPr marL="3730386" indent="0">
              <a:buNone/>
              <a:defRPr sz="1632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0917" y="5474188"/>
            <a:ext cx="8769048" cy="687442"/>
          </a:xfrm>
        </p:spPr>
        <p:txBody>
          <a:bodyPr>
            <a:normAutofit/>
          </a:bodyPr>
          <a:lstStyle>
            <a:lvl1pPr marL="0" indent="0">
              <a:buNone/>
              <a:defRPr sz="1224"/>
            </a:lvl1pPr>
            <a:lvl2pPr marL="466298" indent="0">
              <a:buNone/>
              <a:defRPr sz="1224"/>
            </a:lvl2pPr>
            <a:lvl3pPr marL="932597" indent="0">
              <a:buNone/>
              <a:defRPr sz="1020"/>
            </a:lvl3pPr>
            <a:lvl4pPr marL="1398895" indent="0">
              <a:buNone/>
              <a:defRPr sz="918"/>
            </a:lvl4pPr>
            <a:lvl5pPr marL="1865193" indent="0">
              <a:buNone/>
              <a:defRPr sz="918"/>
            </a:lvl5pPr>
            <a:lvl6pPr marL="2331491" indent="0">
              <a:buNone/>
              <a:defRPr sz="918"/>
            </a:lvl6pPr>
            <a:lvl7pPr marL="2797790" indent="0">
              <a:buNone/>
              <a:defRPr sz="918"/>
            </a:lvl7pPr>
            <a:lvl8pPr marL="3264088" indent="0">
              <a:buNone/>
              <a:defRPr sz="918"/>
            </a:lvl8pPr>
            <a:lvl9pPr marL="3730386" indent="0">
              <a:buNone/>
              <a:defRPr sz="918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4/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53378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621735"/>
            <a:ext cx="8769049" cy="3471357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559394"/>
            <a:ext cx="8769049" cy="1602236"/>
          </a:xfrm>
        </p:spPr>
        <p:txBody>
          <a:bodyPr anchor="ctr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4022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8744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0009" y="621736"/>
            <a:ext cx="8256438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93533" y="3704508"/>
            <a:ext cx="7369391" cy="388585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3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559394"/>
            <a:ext cx="8769049" cy="1602236"/>
          </a:xfrm>
        </p:spPr>
        <p:txBody>
          <a:bodyPr anchor="ctr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52735" y="806113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071334" y="2944020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3508727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917" y="1970449"/>
            <a:ext cx="8769049" cy="2647129"/>
          </a:xfrm>
        </p:spPr>
        <p:txBody>
          <a:bodyPr anchor="b">
            <a:normAutofit/>
          </a:bodyPr>
          <a:lstStyle>
            <a:lvl1pPr algn="l">
              <a:defRPr sz="4488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03679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0009" y="621736"/>
            <a:ext cx="8256438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0914" y="4093093"/>
            <a:ext cx="8769050" cy="52448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4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52735" y="806113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071334" y="2944020"/>
            <a:ext cx="621824" cy="596417"/>
          </a:xfrm>
          <a:prstGeom prst="rect">
            <a:avLst/>
          </a:prstGeom>
        </p:spPr>
        <p:txBody>
          <a:bodyPr vert="horz" lIns="93260" tIns="46630" rIns="93260" bIns="46630" rtlCol="0" anchor="ctr">
            <a:noAutofit/>
          </a:bodyPr>
          <a:lstStyle/>
          <a:p>
            <a:pPr lvl="0"/>
            <a:r>
              <a:rPr lang="en-US" sz="81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26301218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551" y="621736"/>
            <a:ext cx="8760414" cy="3082772"/>
          </a:xfrm>
        </p:spPr>
        <p:txBody>
          <a:bodyPr anchor="ctr">
            <a:normAutofit/>
          </a:bodyPr>
          <a:lstStyle>
            <a:lvl1pPr algn="l">
              <a:defRPr sz="4488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0914" y="4093093"/>
            <a:ext cx="8769050" cy="52448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48">
                <a:solidFill>
                  <a:schemeClr val="accent1"/>
                </a:solidFill>
              </a:defRPr>
            </a:lvl1pPr>
            <a:lvl2pPr marL="466298" indent="0">
              <a:buFontTx/>
              <a:buNone/>
              <a:defRPr/>
            </a:lvl2pPr>
            <a:lvl3pPr marL="932597" indent="0">
              <a:buFontTx/>
              <a:buNone/>
              <a:defRPr/>
            </a:lvl3pPr>
            <a:lvl4pPr marL="1398895" indent="0">
              <a:buFontTx/>
              <a:buNone/>
              <a:defRPr/>
            </a:lvl4pPr>
            <a:lvl5pPr marL="1865193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7" y="4617578"/>
            <a:ext cx="8769049" cy="1544052"/>
          </a:xfrm>
        </p:spPr>
        <p:txBody>
          <a:bodyPr anchor="t">
            <a:normAutofit/>
          </a:bodyPr>
          <a:lstStyle>
            <a:lvl1pPr marL="0" indent="0" algn="l">
              <a:buNone/>
              <a:defRPr sz="183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9FD0C-5451-4CA0-86AF-E70AE3279989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2157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67894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127442" y="621735"/>
            <a:ext cx="1330906" cy="5355994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0917" y="621735"/>
            <a:ext cx="7201721" cy="535599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4399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63" r:id="rId15"/>
    <p:sldLayoutId id="2147484307" r:id="rId16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787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404" r:id="rId14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56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  <p:sldLayoutId id="2147484338" r:id="rId16"/>
    <p:sldLayoutId id="2147484339" r:id="rId17"/>
    <p:sldLayoutId id="2147484340" r:id="rId18"/>
    <p:sldLayoutId id="2147484341" r:id="rId19"/>
    <p:sldLayoutId id="2147484342" r:id="rId20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40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  <p:sldLayoutId id="2147484401" r:id="rId27"/>
    <p:sldLayoutId id="2147484402" r:id="rId28"/>
    <p:sldLayoutId id="2147484403" r:id="rId2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635"/>
            <a:ext cx="12436475" cy="7003161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0916" y="621735"/>
            <a:ext cx="8769049" cy="134709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0916" y="2203601"/>
            <a:ext cx="8769049" cy="39580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49612" y="6161630"/>
            <a:ext cx="930225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5/2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0916" y="6161630"/>
            <a:ext cx="6423892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1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2924" y="6161630"/>
            <a:ext cx="697041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8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839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9" r:id="rId1"/>
    <p:sldLayoutId id="2147484550" r:id="rId2"/>
    <p:sldLayoutId id="2147484551" r:id="rId3"/>
    <p:sldLayoutId id="2147484552" r:id="rId4"/>
    <p:sldLayoutId id="2147484553" r:id="rId5"/>
    <p:sldLayoutId id="2147484554" r:id="rId6"/>
    <p:sldLayoutId id="2147484555" r:id="rId7"/>
    <p:sldLayoutId id="2147484556" r:id="rId8"/>
    <p:sldLayoutId id="2147484557" r:id="rId9"/>
    <p:sldLayoutId id="2147484558" r:id="rId10"/>
    <p:sldLayoutId id="2147484559" r:id="rId11"/>
    <p:sldLayoutId id="2147484560" r:id="rId12"/>
    <p:sldLayoutId id="2147484561" r:id="rId13"/>
    <p:sldLayoutId id="2147484562" r:id="rId14"/>
    <p:sldLayoutId id="2147484563" r:id="rId15"/>
    <p:sldLayoutId id="2147484564" r:id="rId16"/>
  </p:sldLayoutIdLst>
  <p:transition>
    <p:fade/>
  </p:transition>
  <p:txStyles>
    <p:titleStyle>
      <a:lvl1pPr algn="l" defTabSz="466298" rtl="0" eaLnBrk="1" latinLnBrk="0" hangingPunct="1">
        <a:spcBef>
          <a:spcPct val="0"/>
        </a:spcBef>
        <a:buNone/>
        <a:defRPr sz="3672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9724" indent="-349724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36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57735" indent="-291436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3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65746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2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32044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98342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64641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3030939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97237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963535" indent="-233149" algn="l" defTabSz="466298" rtl="0" eaLnBrk="1" latinLnBrk="0" hangingPunct="1">
        <a:spcBef>
          <a:spcPts val="102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2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46629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4"/>
          <p:cNvSpPr txBox="1"/>
          <p:nvPr/>
        </p:nvSpPr>
        <p:spPr>
          <a:xfrm>
            <a:off x="1239851" y="1592262"/>
            <a:ext cx="11196624" cy="19756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6119" b="1" dirty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Como desarrollar </a:t>
            </a:r>
            <a:r>
              <a:rPr lang="es-ES" sz="6119" b="1" dirty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rgbClr val="7030A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Apps</a:t>
            </a:r>
          </a:p>
          <a:p>
            <a:r>
              <a:rPr lang="es-ES" sz="6119" b="1" dirty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Para </a:t>
            </a:r>
            <a:r>
              <a:rPr lang="es-ES" sz="6119" b="1" dirty="0">
                <a:ln w="19050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Windows 10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" t="3768" r="-491" b="35230"/>
          <a:stretch/>
        </p:blipFill>
        <p:spPr>
          <a:xfrm>
            <a:off x="887770" y="5416429"/>
            <a:ext cx="1077156" cy="1077156"/>
          </a:xfrm>
          <a:prstGeom prst="rect">
            <a:avLst/>
          </a:prstGeom>
        </p:spPr>
      </p:pic>
      <p:sp>
        <p:nvSpPr>
          <p:cNvPr id="28" name="TextBox 5"/>
          <p:cNvSpPr txBox="1"/>
          <p:nvPr/>
        </p:nvSpPr>
        <p:spPr>
          <a:xfrm>
            <a:off x="2062072" y="5342771"/>
            <a:ext cx="5628389" cy="124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 García Salvadores</a:t>
            </a:r>
          </a:p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versidad Autónoma de Madrid</a:t>
            </a:r>
          </a:p>
          <a:p>
            <a:r>
              <a:rPr lang="es-ES" sz="2448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@</a:t>
            </a:r>
            <a:r>
              <a:rPr lang="es-ES" sz="2448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_g_s</a:t>
            </a:r>
            <a:endParaRPr lang="es-ES" sz="2448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TextBox 4"/>
          <p:cNvSpPr txBox="1"/>
          <p:nvPr/>
        </p:nvSpPr>
        <p:spPr>
          <a:xfrm>
            <a:off x="10325036" y="6338596"/>
            <a:ext cx="1374705" cy="374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36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</a:t>
            </a:r>
            <a:r>
              <a:rPr lang="es-ES" sz="1836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SPSpain</a:t>
            </a:r>
            <a:endParaRPr lang="es-ES" sz="1836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452" y="5081943"/>
            <a:ext cx="1244848" cy="124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5201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>
            <a:normAutofit/>
          </a:bodyPr>
          <a:lstStyle/>
          <a:p>
            <a:r>
              <a:rPr lang="es-ES" sz="5400" b="1" spc="0" dirty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¿Qué es una app?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557212" y="1910131"/>
            <a:ext cx="11887200" cy="4530471"/>
          </a:xfrm>
        </p:spPr>
        <p:txBody>
          <a:bodyPr>
            <a:normAutofit fontScale="85000" lnSpcReduction="20000"/>
          </a:bodyPr>
          <a:lstStyle/>
          <a:p>
            <a:r>
              <a:rPr lang="es-ES" sz="3200" dirty="0"/>
              <a:t>No cualquier programa es una app</a:t>
            </a:r>
          </a:p>
          <a:p>
            <a:r>
              <a:rPr lang="es-ES" sz="3200" dirty="0"/>
              <a:t>Al comienzo solo existían los .</a:t>
            </a:r>
            <a:r>
              <a:rPr lang="es-ES" sz="3200" dirty="0" err="1"/>
              <a:t>exe</a:t>
            </a:r>
            <a:r>
              <a:rPr lang="es-ES" sz="3200" dirty="0"/>
              <a:t>, pero…</a:t>
            </a:r>
          </a:p>
          <a:p>
            <a:pPr lvl="1"/>
            <a:r>
              <a:rPr lang="es-ES" sz="2596" dirty="0"/>
              <a:t>¿Cómo se instalan?</a:t>
            </a:r>
          </a:p>
          <a:p>
            <a:pPr lvl="1"/>
            <a:r>
              <a:rPr lang="es-ES" sz="2596" dirty="0"/>
              <a:t>¿Dónde se almacenan los datos?</a:t>
            </a:r>
          </a:p>
          <a:p>
            <a:pPr lvl="1"/>
            <a:r>
              <a:rPr lang="es-ES" sz="2596" dirty="0"/>
              <a:t>¿Cuánto tiempo se ejecuta?</a:t>
            </a:r>
          </a:p>
          <a:p>
            <a:pPr lvl="1"/>
            <a:r>
              <a:rPr lang="es-ES" sz="2596" dirty="0"/>
              <a:t>¿Cómo se actualiza?</a:t>
            </a:r>
          </a:p>
          <a:p>
            <a:pPr lvl="1"/>
            <a:r>
              <a:rPr lang="es-ES" sz="2596" dirty="0"/>
              <a:t>¿Cómo se integra con el sistema operativo?</a:t>
            </a:r>
          </a:p>
          <a:p>
            <a:pPr lvl="1"/>
            <a:r>
              <a:rPr lang="es-ES" sz="2596" dirty="0"/>
              <a:t>¿Cómo se integra con otros programas?</a:t>
            </a:r>
          </a:p>
          <a:p>
            <a:pPr lvl="1"/>
            <a:r>
              <a:rPr lang="es-ES" sz="2596" dirty="0"/>
              <a:t>¿Qué permisos tiene el programa?</a:t>
            </a:r>
          </a:p>
          <a:p>
            <a:r>
              <a:rPr lang="es-ES" sz="2800" dirty="0"/>
              <a:t>Las apps para la Universal Windows </a:t>
            </a:r>
            <a:r>
              <a:rPr lang="es-ES" sz="2800" dirty="0" err="1"/>
              <a:t>Platform</a:t>
            </a:r>
            <a:r>
              <a:rPr lang="es-ES" sz="2800" dirty="0"/>
              <a:t> resuelven estos problemas: </a:t>
            </a:r>
          </a:p>
          <a:p>
            <a:pPr marL="0" indent="0">
              <a:buNone/>
            </a:pPr>
            <a:r>
              <a:rPr lang="es-ES" sz="2800" dirty="0"/>
              <a:t>	.</a:t>
            </a:r>
            <a:r>
              <a:rPr lang="es-ES" sz="2800" dirty="0" err="1"/>
              <a:t>appx</a:t>
            </a:r>
            <a:endParaRPr lang="es-ES" sz="2800" dirty="0"/>
          </a:p>
        </p:txBody>
      </p:sp>
    </p:spTree>
    <p:extLst>
      <p:ext uri="{BB962C8B-B14F-4D97-AF65-F5344CB8AC3E}">
        <p14:creationId xmlns:p14="http://schemas.microsoft.com/office/powerpoint/2010/main" val="161644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>
                <a:lumMod val="75000"/>
              </a:schemeClr>
            </a:gs>
            <a:gs pos="0">
              <a:schemeClr val="accent1">
                <a:lumMod val="50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637" y="373062"/>
            <a:ext cx="8705533" cy="1537069"/>
          </a:xfrm>
        </p:spPr>
        <p:txBody>
          <a:bodyPr>
            <a:normAutofit/>
          </a:bodyPr>
          <a:lstStyle/>
          <a:p>
            <a:r>
              <a:rPr lang="es-ES" sz="5400" b="1" spc="0">
                <a:ln w="9525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¿Qué es una app para W10?</a:t>
            </a:r>
            <a:endParaRPr lang="en-US" sz="5400" b="1" spc="0" dirty="0">
              <a:ln w="9525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884237" y="1516062"/>
            <a:ext cx="11887200" cy="4530471"/>
          </a:xfrm>
        </p:spPr>
        <p:txBody>
          <a:bodyPr>
            <a:normAutofit/>
          </a:bodyPr>
          <a:lstStyle/>
          <a:p>
            <a:r>
              <a:rPr lang="es-ES" sz="3200"/>
              <a:t>Puede estar escrita en C# / C++ / VB / JS</a:t>
            </a:r>
          </a:p>
          <a:p>
            <a:pPr marL="0" indent="0">
              <a:buNone/>
            </a:pPr>
            <a:endParaRPr lang="es-ES" sz="2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237" y="2506662"/>
            <a:ext cx="8686800" cy="3778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58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_v02.potx" id="{AE6B0D47-3488-4D7E-AEFE-4DBC34C239F2}" vid="{FE055DFB-2179-4F25-980C-29B98161779E}"/>
    </a:ext>
  </a:extLst>
</a:theme>
</file>

<file path=ppt/theme/theme2.xml><?xml version="1.0" encoding="utf-8"?>
<a:theme xmlns:a="http://schemas.openxmlformats.org/drawingml/2006/main" name="1_5-30629_Build_Template_DARK BLU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5D3B3FA9-0122-4B31-B139-E383C37B88CE}"/>
    </a:ext>
  </a:extLst>
</a:theme>
</file>

<file path=ppt/theme/theme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4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5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9a868b2ee15488883f623ae5237ecae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Moscone Center</TermName>
          <TermId xmlns="http://schemas.microsoft.com/office/infopath/2007/PartnerControls">d4f36a2e-dd0d-4424-990f-7c93b4e9f063</TermId>
        </TermInfo>
      </Terms>
    </h9a868b2ee15488883f623ae5237ecae>
    <k62f7d35b80b40fb8c27985e50b34fcd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</TermName>
          <TermId xmlns="http://schemas.microsoft.com/office/infopath/2007/PartnerControls">58542b36-5bf5-46a6-a53f-a41fb7a73785</TermId>
        </TermInfo>
      </Terms>
    </k62f7d35b80b40fb8c27985e50b34fcd>
    <LikesCount xmlns="http://schemas.microsoft.com/sharepoint/v3" xsi:nil="true"/>
    <pfbfa50075a04958bd8757dc155d3e08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n Francisco</TermName>
          <TermId xmlns="http://schemas.microsoft.com/office/infopath/2007/PartnerControls">84dfcb53-432b-499d-8965-93d483d36b4a</TermId>
        </TermInfo>
      </Terms>
    </pfbfa50075a04958bd8757dc155d3e08>
    <Presentation_x0020_Date xmlns="12a172fe-0250-434a-85cf-03b10810c5e5">2015-04-29T00:00:00-07:00</Presentation_x0020_Date>
    <o72fbe6ee5ae4131af0832c08ec51202 xmlns="12a172fe-0250-434a-85cf-03b10810c5e5">
      <Terms xmlns="http://schemas.microsoft.com/office/infopath/2007/PartnerControls"/>
    </o72fbe6ee5ae4131af0832c08ec51202>
    <Event_x0020_Start_x0020_Date xmlns="12a172fe-0250-434a-85cf-03b10810c5e5">2015-04-29T07:00:00+00:00</Event_x0020_Start_x0020_Date>
    <MS_x0020_Content_x0020_Owner xmlns="12a172fe-0250-434a-85cf-03b10810c5e5">
      <UserInfo>
        <DisplayName/>
        <AccountId xsi:nil="true"/>
        <AccountType/>
      </UserInfo>
    </MS_x0020_Content_x0020_Owner>
    <MS_x0020_Speaker xmlns="12a172fe-0250-434a-85cf-03b10810c5e5">
      <UserInfo>
        <DisplayName/>
        <AccountId xsi:nil="true"/>
        <AccountType/>
      </UserInfo>
    </MS_x0020_Speaker>
    <External_x0020_Speaker xmlns="12a172fe-0250-434a-85cf-03b10810c5e5"> Kevin Miller</External_x0020_Speaker>
    <Session_x0020_Code xmlns="12a172fe-0250-434a-85cf-03b10810c5e5">2-611</Session_x0020_Code>
    <le8386062bd54e24a95c83b32ccbdb34 xmlns="12a172fe-0250-434a-85cf-03b10810c5e5">
      <Terms xmlns="http://schemas.microsoft.com/office/infopath/2007/PartnerControls"/>
    </le8386062bd54e24a95c83b32ccbdb34>
    <j4d4d959795b4220a289a041ed046605 xmlns="12a172fe-0250-434a-85cf-03b10810c5e5">
      <Terms xmlns="http://schemas.microsoft.com/office/infopath/2007/PartnerControls"/>
    </j4d4d959795b4220a289a041ed046605>
    <Event_x0020_End_x0020_Date xmlns="12a172fe-0250-434a-85cf-03b10810c5e5">2015-05-01T07:00:00+00:00</Event_x0020_End_x0020_Date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 2015</TermName>
          <TermId xmlns="http://schemas.microsoft.com/office/infopath/2007/PartnerControls">54419920-0a06-43b0-b2df-79127b266d93</TermId>
        </TermInfo>
      </Terms>
    </TaxKeywordTaxHTField>
    <TaxCatchAll xmlns="230e9df3-be65-4c73-a93b-d1236ebd677e">
      <Value>173</Value>
      <Value>172</Value>
      <Value>171</Value>
      <Value>170</Value>
    </TaxCatchAll>
    <eb9cf3a3af7b473faa5c9c98148a90a4 xmlns="12a172fe-0250-434a-85cf-03b10810c5e5">
      <Terms xmlns="http://schemas.microsoft.com/office/infopath/2007/PartnerControls"/>
    </eb9cf3a3af7b473faa5c9c98148a90a4>
    <SharingHintHash xmlns="12a172fe-0250-434a-85cf-03b10810c5e5">-103767253</SharingHintHash>
    <SharedWithUsers xmlns="12a172fe-0250-434a-85cf-03b10810c5e5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46EBBE4F454C2C47A5E89CD935B1FC7800E83BCD34BAE21044A0567CF64FDFDE54" ma:contentTypeVersion="5" ma:contentTypeDescription="Create a new document." ma:contentTypeScope="" ma:versionID="9f49739d1da212619d044bf1bfa27251">
  <xsd:schema xmlns:xsd="http://www.w3.org/2001/XMLSchema" xmlns:xs="http://www.w3.org/2001/XMLSchema" xmlns:p="http://schemas.microsoft.com/office/2006/metadata/properties" xmlns:ns1="http://schemas.microsoft.com/sharepoint/v3" xmlns:ns2="12a172fe-0250-434a-85cf-03b10810c5e5" xmlns:ns3="230e9df3-be65-4c73-a93b-d1236ebd677e" targetNamespace="http://schemas.microsoft.com/office/2006/metadata/properties" ma:root="true" ma:fieldsID="d1ec06fbcf9feb71c233288b468d8e39" ns1:_="" ns2:_="" ns3:_="">
    <xsd:import namespace="http://schemas.microsoft.com/sharepoint/v3"/>
    <xsd:import namespace="12a172fe-0250-434a-85cf-03b10810c5e5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k62f7d35b80b40fb8c27985e50b34fcd" minOccurs="0"/>
                <xsd:element ref="ns3:TaxCatchAll" minOccurs="0"/>
                <xsd:element ref="ns3:TaxCatchAllLabel" minOccurs="0"/>
                <xsd:element ref="ns2:pfbfa50075a04958bd8757dc155d3e08" minOccurs="0"/>
                <xsd:element ref="ns2:h9a868b2ee15488883f623ae5237ecae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72fbe6ee5ae4131af0832c08ec51202" minOccurs="0"/>
                <xsd:element ref="ns2:eb9cf3a3af7b473faa5c9c98148a90a4" minOccurs="0"/>
                <xsd:element ref="ns2:Session_x0020_Code" minOccurs="0"/>
                <xsd:element ref="ns2:MS_x0020_Content_x0020_Owner" minOccurs="0"/>
                <xsd:element ref="ns2:le8386062bd54e24a95c83b32ccbdb34" minOccurs="0"/>
                <xsd:element ref="ns2:j4d4d959795b4220a289a041ed046605" minOccurs="0"/>
                <xsd:element ref="ns3:TaxKeywordTaxHTField" minOccurs="0"/>
                <xsd:element ref="ns1:AverageRating" minOccurs="0"/>
                <xsd:element ref="ns1:RatingCount" minOccurs="0"/>
                <xsd:element ref="ns1:LikesCount" minOccurs="0"/>
                <xsd:element ref="ns2:SharedWithUsers" minOccurs="0"/>
                <xsd:element ref="ns2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3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4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5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172fe-0250-434a-85cf-03b10810c5e5" elementFormDefault="qualified">
    <xsd:import namespace="http://schemas.microsoft.com/office/2006/documentManagement/types"/>
    <xsd:import namespace="http://schemas.microsoft.com/office/infopath/2007/PartnerControls"/>
    <xsd:element name="k62f7d35b80b40fb8c27985e50b34fcd" ma:index="8" nillable="true" ma:taxonomy="true" ma:internalName="k62f7d35b80b40fb8c27985e50b34fcd" ma:taxonomyFieldName="Event_x0020_Name" ma:displayName="Event Name" ma:default="" ma:fieldId="{462f7d35-b80b-40fb-8c27-985e50b34fcd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pfbfa50075a04958bd8757dc155d3e08" ma:index="12" nillable="true" ma:taxonomy="true" ma:internalName="pfbfa50075a04958bd8757dc155d3e08" ma:taxonomyFieldName="Event_x0020_Location" ma:displayName="Event Location" ma:default="" ma:fieldId="{9fbfa500-75a0-4958-bd87-57dc155d3e08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9a868b2ee15488883f623ae5237ecae" ma:index="14" nillable="true" ma:taxonomy="true" ma:internalName="h9a868b2ee15488883f623ae5237ecae" ma:taxonomyFieldName="Event_x0020_Venue" ma:displayName="Event Venue" ma:default="" ma:fieldId="{19a868b2-ee15-4888-83f6-23ae5237ecae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72fbe6ee5ae4131af0832c08ec51202" ma:index="21" nillable="true" ma:taxonomy="true" ma:internalName="o72fbe6ee5ae4131af0832c08ec51202" ma:taxonomyFieldName="Product" ma:displayName="Product" ma:default="" ma:fieldId="{872fbe6e-e5ae-4131-af08-32c08ec51202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b9cf3a3af7b473faa5c9c98148a90a4" ma:index="23" nillable="true" ma:taxonomy="true" ma:internalName="eb9cf3a3af7b473faa5c9c98148a90a4" ma:taxonomyFieldName="Campaign" ma:displayName="Campaign" ma:default="" ma:fieldId="{eb9cf3a3-af7b-473f-aa5c-9c98148a90a4}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e8386062bd54e24a95c83b32ccbdb34" ma:index="27" nillable="true" ma:taxonomy="true" ma:internalName="le8386062bd54e24a95c83b32ccbdb34" ma:taxonomyFieldName="Track" ma:displayName="Track" ma:default="" ma:fieldId="{5e838606-2bd5-4e24-a95c-83b32ccbdb34}" ma:sspId="e385fb40-52d4-4fae-9c5b-3e8ff8a5878e" ma:termSetId="043e2b11-12ce-49cc-a347-2f73f2b7fe4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4d4d959795b4220a289a041ed046605" ma:index="29" nillable="true" ma:taxonomy="true" ma:internalName="j4d4d959795b4220a289a041ed046605" ma:taxonomyFieldName="Audience1" ma:displayName="Audience" ma:default="" ma:fieldId="{34d4d959-795b-4220-a289-a041ed046605}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38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5b797c71-5459-41dc-9095-63a63c56aa91}" ma:internalName="TaxCatchAll" ma:showField="CatchAllData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b797c71-5459-41dc-9095-63a63c56aa91}" ma:internalName="TaxCatchAllLabel" ma:readOnly="true" ma:showField="CatchAllDataLabel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1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6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dcmitype/"/>
    <ds:schemaRef ds:uri="12a172fe-0250-434a-85cf-03b10810c5e5"/>
    <ds:schemaRef ds:uri="http://www.w3.org/XML/1998/namespace"/>
    <ds:schemaRef ds:uri="http://schemas.microsoft.com/office/infopath/2007/PartnerControls"/>
    <ds:schemaRef ds:uri="230e9df3-be65-4c73-a93b-d1236ebd677e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99E0065C-627B-42FD-A7AD-D2ABAFAC7E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2a172fe-0250-434a-85cf-03b10810c5e5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ild_2015_Template_v03</Template>
  <TotalTime>872</TotalTime>
  <Words>118</Words>
  <Application>Microsoft Office PowerPoint</Application>
  <PresentationFormat>Custom</PresentationFormat>
  <Paragraphs>20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7" baseType="lpstr">
      <vt:lpstr>ＭＳ Ｐゴシック</vt:lpstr>
      <vt:lpstr>Arial</vt:lpstr>
      <vt:lpstr>Avenir LT Pro 45 Book</vt:lpstr>
      <vt:lpstr>Consolas</vt:lpstr>
      <vt:lpstr>Segoe UI</vt:lpstr>
      <vt:lpstr>Segoe UI Light</vt:lpstr>
      <vt:lpstr>Trebuchet MS</vt:lpstr>
      <vt:lpstr>Wingdings 3</vt:lpstr>
      <vt:lpstr>5-30629_Build_Template_WHITE</vt:lpstr>
      <vt:lpstr>1_5-30629_Build_Template_DARK BLUE</vt:lpstr>
      <vt:lpstr>1_5-30629_Build_Template_WHITE</vt:lpstr>
      <vt:lpstr>3_5-30629_Build_Template_WHITE</vt:lpstr>
      <vt:lpstr>Facet</vt:lpstr>
      <vt:lpstr>think-cell Slide</vt:lpstr>
      <vt:lpstr>PowerPoint Presentation</vt:lpstr>
      <vt:lpstr>¿Qué es una app?</vt:lpstr>
      <vt:lpstr>¿Qué es una app para W10?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 Practices for Creating IoT Solutions with Azure</dc:title>
  <dc:subject>Build 2015</dc:subject>
  <dc:creator>Shows</dc:creator>
  <cp:keywords>Build 2015</cp:keywords>
  <dc:description>Template: Mitchell Derrey, Silver Fox Productions
Formatting: 
Audience Type:</dc:description>
  <cp:lastModifiedBy>Arcadio García</cp:lastModifiedBy>
  <cp:revision>109</cp:revision>
  <dcterms:created xsi:type="dcterms:W3CDTF">2015-04-29T17:53:46Z</dcterms:created>
  <dcterms:modified xsi:type="dcterms:W3CDTF">2016-05-23T23:31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BBE4F454C2C47A5E89CD935B1FC7800E83BCD34BAE21044A0567CF64FDFDE54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3;#Moscone Center|d4f36a2e-dd0d-4424-990f-7c93b4e9f063</vt:lpwstr>
  </property>
  <property fmtid="{D5CDD505-2E9C-101B-9397-08002B2CF9AE}" pid="7" name="Track">
    <vt:lpwstr/>
  </property>
  <property fmtid="{D5CDD505-2E9C-101B-9397-08002B2CF9AE}" pid="8" name="Event Location">
    <vt:lpwstr>172;#San Francisco|84dfcb53-432b-499d-8965-93d483d36b4a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Audience1">
    <vt:lpwstr/>
  </property>
  <property fmtid="{D5CDD505-2E9C-101B-9397-08002B2CF9AE}" pid="12" name="TaxKeyword">
    <vt:lpwstr>170;#Build 2015|54419920-0a06-43b0-b2df-79127b266d93</vt:lpwstr>
  </property>
  <property fmtid="{D5CDD505-2E9C-101B-9397-08002B2CF9AE}" pid="13" name="Event Name">
    <vt:lpwstr>171;#BUILD|58542b36-5bf5-46a6-a53f-a41fb7a73785</vt:lpwstr>
  </property>
</Properties>
</file>